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9"/>
  </p:notesMasterIdLst>
  <p:handoutMasterIdLst>
    <p:handoutMasterId r:id="rId20"/>
  </p:handoutMasterIdLst>
  <p:sldIdLst>
    <p:sldId id="1277" r:id="rId3"/>
    <p:sldId id="1293" r:id="rId4"/>
    <p:sldId id="1294" r:id="rId5"/>
    <p:sldId id="1296" r:id="rId6"/>
    <p:sldId id="1316" r:id="rId7"/>
    <p:sldId id="1300" r:id="rId8"/>
    <p:sldId id="1301" r:id="rId9"/>
    <p:sldId id="1302" r:id="rId10"/>
    <p:sldId id="1303" r:id="rId11"/>
    <p:sldId id="1307" r:id="rId12"/>
    <p:sldId id="1308" r:id="rId13"/>
    <p:sldId id="1315" r:id="rId14"/>
    <p:sldId id="1305" r:id="rId15"/>
    <p:sldId id="1304" r:id="rId16"/>
    <p:sldId id="1313" r:id="rId17"/>
    <p:sldId id="1314" r:id="rId18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16"/>
            <p14:sldId id="1300"/>
            <p14:sldId id="1301"/>
            <p14:sldId id="1302"/>
            <p14:sldId id="1303"/>
            <p14:sldId id="1307"/>
            <p14:sldId id="1308"/>
            <p14:sldId id="1315"/>
            <p14:sldId id="1305"/>
            <p14:sldId id="1304"/>
            <p14:sldId id="1313"/>
            <p14:sldId id="131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D243"/>
    <a:srgbClr val="F5C28F"/>
    <a:srgbClr val="F1CA7B"/>
    <a:srgbClr val="F5AC83"/>
    <a:srgbClr val="FDE3EA"/>
    <a:srgbClr val="F1592F"/>
    <a:srgbClr val="B4F3AB"/>
    <a:srgbClr val="EF7B5B"/>
    <a:srgbClr val="FF5B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76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9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301-4B4E-94E4-42B231A3C087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301-4B4E-94E4-42B231A3C0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Pardubický kraj</c:v>
                </c:pt>
                <c:pt idx="4">
                  <c:v>Jihomoravský kraj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Moravskoslezský kraj</c:v>
                </c:pt>
                <c:pt idx="8">
                  <c:v>Královéhradecký kraj</c:v>
                </c:pt>
                <c:pt idx="9">
                  <c:v>ČR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0505050505000004</c:v>
                </c:pt>
                <c:pt idx="1">
                  <c:v>0.48979591836699998</c:v>
                </c:pt>
                <c:pt idx="2">
                  <c:v>0.45726495726400002</c:v>
                </c:pt>
                <c:pt idx="3">
                  <c:v>0.42519685039299998</c:v>
                </c:pt>
                <c:pt idx="4">
                  <c:v>0.40253164556900001</c:v>
                </c:pt>
                <c:pt idx="5">
                  <c:v>0.37888198757699998</c:v>
                </c:pt>
                <c:pt idx="6">
                  <c:v>0.36160714285700002</c:v>
                </c:pt>
                <c:pt idx="7">
                  <c:v>0.34131736526899997</c:v>
                </c:pt>
                <c:pt idx="8">
                  <c:v>0.33043478260800002</c:v>
                </c:pt>
                <c:pt idx="9">
                  <c:v>0.32015810276599999</c:v>
                </c:pt>
                <c:pt idx="10">
                  <c:v>0.32</c:v>
                </c:pt>
                <c:pt idx="11">
                  <c:v>0.31313131313100001</c:v>
                </c:pt>
                <c:pt idx="12">
                  <c:v>0.27519379844899999</c:v>
                </c:pt>
                <c:pt idx="13">
                  <c:v>0.18072289156599999</c:v>
                </c:pt>
                <c:pt idx="14">
                  <c:v>0.15668789808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301-4B4E-94E4-42B231A3C0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4A-46B6-8BD6-64EBF669B884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Jihomoravský kraj</c:v>
                </c:pt>
                <c:pt idx="3">
                  <c:v>Středočeský kraj</c:v>
                </c:pt>
                <c:pt idx="4">
                  <c:v>Jihočeský kraj</c:v>
                </c:pt>
                <c:pt idx="5">
                  <c:v>Plzeňs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Liberecký kraj</c:v>
                </c:pt>
                <c:pt idx="10">
                  <c:v>Ústecký kraj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387096774100002</c:v>
                </c:pt>
                <c:pt idx="1">
                  <c:v>0.44927536231800003</c:v>
                </c:pt>
                <c:pt idx="2">
                  <c:v>0.36764705882299997</c:v>
                </c:pt>
                <c:pt idx="3">
                  <c:v>0.31304347826000001</c:v>
                </c:pt>
                <c:pt idx="4">
                  <c:v>0.3125</c:v>
                </c:pt>
                <c:pt idx="5">
                  <c:v>0.30303030303</c:v>
                </c:pt>
                <c:pt idx="6">
                  <c:v>0.23624595469199999</c:v>
                </c:pt>
                <c:pt idx="7">
                  <c:v>0.234765234765</c:v>
                </c:pt>
                <c:pt idx="8">
                  <c:v>0.23225806451600001</c:v>
                </c:pt>
                <c:pt idx="9">
                  <c:v>0.22784810126499999</c:v>
                </c:pt>
                <c:pt idx="10">
                  <c:v>0.226086956521</c:v>
                </c:pt>
                <c:pt idx="11">
                  <c:v>0.2</c:v>
                </c:pt>
                <c:pt idx="12">
                  <c:v>0.19298245614000001</c:v>
                </c:pt>
                <c:pt idx="13">
                  <c:v>0.1395348837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24-4795-AF96-EB28975A58F7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Olomoucký kraj</c:v>
                </c:pt>
                <c:pt idx="5">
                  <c:v>Ústec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Středoče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4527872582</c:v>
                </c:pt>
                <c:pt idx="1">
                  <c:v>0.33742331288299998</c:v>
                </c:pt>
                <c:pt idx="2">
                  <c:v>0.30599755201899997</c:v>
                </c:pt>
                <c:pt idx="3">
                  <c:v>0.30540242557800001</c:v>
                </c:pt>
                <c:pt idx="4">
                  <c:v>0.29856584093799998</c:v>
                </c:pt>
                <c:pt idx="5">
                  <c:v>0.26069246435799998</c:v>
                </c:pt>
                <c:pt idx="6">
                  <c:v>0.23976261127500001</c:v>
                </c:pt>
                <c:pt idx="7">
                  <c:v>0.223804546642</c:v>
                </c:pt>
                <c:pt idx="8">
                  <c:v>0.22079937912299999</c:v>
                </c:pt>
                <c:pt idx="9">
                  <c:v>0.18518518518499999</c:v>
                </c:pt>
                <c:pt idx="10">
                  <c:v>0.17286652078699999</c:v>
                </c:pt>
                <c:pt idx="11">
                  <c:v>0.165368271954</c:v>
                </c:pt>
                <c:pt idx="12">
                  <c:v>0.15550239234400001</c:v>
                </c:pt>
                <c:pt idx="13">
                  <c:v>0.12675616609400001</c:v>
                </c:pt>
                <c:pt idx="14">
                  <c:v>0.122703894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6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6</c:v>
                </c:pt>
                <c:pt idx="45">
                  <c:v>515</c:v>
                </c:pt>
                <c:pt idx="46">
                  <c:v>541</c:v>
                </c:pt>
                <c:pt idx="47">
                  <c:v>662</c:v>
                </c:pt>
                <c:pt idx="48">
                  <c:v>725</c:v>
                </c:pt>
                <c:pt idx="49">
                  <c:v>795</c:v>
                </c:pt>
                <c:pt idx="50">
                  <c:v>838</c:v>
                </c:pt>
                <c:pt idx="51">
                  <c:v>919</c:v>
                </c:pt>
                <c:pt idx="52">
                  <c:v>927</c:v>
                </c:pt>
                <c:pt idx="53">
                  <c:v>990</c:v>
                </c:pt>
                <c:pt idx="54">
                  <c:v>1172</c:v>
                </c:pt>
                <c:pt idx="55">
                  <c:v>1293</c:v>
                </c:pt>
                <c:pt idx="56">
                  <c:v>1394</c:v>
                </c:pt>
                <c:pt idx="57">
                  <c:v>1388</c:v>
                </c:pt>
                <c:pt idx="58">
                  <c:v>1574</c:v>
                </c:pt>
                <c:pt idx="59">
                  <c:v>1594</c:v>
                </c:pt>
                <c:pt idx="60">
                  <c:v>1727</c:v>
                </c:pt>
                <c:pt idx="61">
                  <c:v>2101</c:v>
                </c:pt>
                <c:pt idx="62">
                  <c:v>2288</c:v>
                </c:pt>
                <c:pt idx="63">
                  <c:v>2488</c:v>
                </c:pt>
                <c:pt idx="64">
                  <c:v>2651</c:v>
                </c:pt>
                <c:pt idx="65">
                  <c:v>2784</c:v>
                </c:pt>
                <c:pt idx="66">
                  <c:v>2791</c:v>
                </c:pt>
                <c:pt idx="67">
                  <c:v>2929</c:v>
                </c:pt>
                <c:pt idx="68">
                  <c:v>3364</c:v>
                </c:pt>
                <c:pt idx="69">
                  <c:v>3539</c:v>
                </c:pt>
                <c:pt idx="70">
                  <c:v>3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8</c:v>
                </c:pt>
                <c:pt idx="50">
                  <c:v>142</c:v>
                </c:pt>
                <c:pt idx="51">
                  <c:v>152</c:v>
                </c:pt>
                <c:pt idx="52">
                  <c:v>150</c:v>
                </c:pt>
                <c:pt idx="53">
                  <c:v>162</c:v>
                </c:pt>
                <c:pt idx="54">
                  <c:v>170</c:v>
                </c:pt>
                <c:pt idx="55">
                  <c:v>192</c:v>
                </c:pt>
                <c:pt idx="56">
                  <c:v>214</c:v>
                </c:pt>
                <c:pt idx="57">
                  <c:v>208</c:v>
                </c:pt>
                <c:pt idx="58">
                  <c:v>237</c:v>
                </c:pt>
                <c:pt idx="59">
                  <c:v>239</c:v>
                </c:pt>
                <c:pt idx="60">
                  <c:v>268</c:v>
                </c:pt>
                <c:pt idx="61">
                  <c:v>312</c:v>
                </c:pt>
                <c:pt idx="62">
                  <c:v>318</c:v>
                </c:pt>
                <c:pt idx="63">
                  <c:v>346</c:v>
                </c:pt>
                <c:pt idx="64">
                  <c:v>346</c:v>
                </c:pt>
                <c:pt idx="65">
                  <c:v>384</c:v>
                </c:pt>
                <c:pt idx="66">
                  <c:v>389</c:v>
                </c:pt>
                <c:pt idx="67">
                  <c:v>424</c:v>
                </c:pt>
                <c:pt idx="68">
                  <c:v>470</c:v>
                </c:pt>
                <c:pt idx="69">
                  <c:v>485</c:v>
                </c:pt>
                <c:pt idx="70">
                  <c:v>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5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5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7777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35719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672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chart" Target="../charts/chart5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5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2141" y="92597"/>
            <a:ext cx="9885238" cy="896492"/>
          </a:xfrm>
        </p:spPr>
        <p:txBody>
          <a:bodyPr/>
          <a:lstStyle/>
          <a:p>
            <a:r>
              <a:rPr lang="cs-CZ" sz="2800" dirty="0" smtClean="0"/>
              <a:t>Přehled vývoje </a:t>
            </a:r>
            <a:r>
              <a:rPr lang="cs-CZ" sz="2800" dirty="0"/>
              <a:t>počtu nových případů od dubna 2020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EC00B93-7A35-4256-8F4C-9EB77752A817}"/>
              </a:ext>
            </a:extLst>
          </p:cNvPr>
          <p:cNvSpPr txBox="1"/>
          <p:nvPr/>
        </p:nvSpPr>
        <p:spPr>
          <a:xfrm>
            <a:off x="9103449" y="2274079"/>
            <a:ext cx="28270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Data </a:t>
            </a:r>
            <a:r>
              <a:rPr lang="cs-CZ" dirty="0"/>
              <a:t>k 10.11. 2021</a:t>
            </a:r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dirty="0" smtClean="0"/>
              <a:t>20.10</a:t>
            </a:r>
            <a:r>
              <a:rPr lang="cs-CZ" dirty="0"/>
              <a:t>. 2020</a:t>
            </a: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6BE18299-A080-4000-A7DF-340466862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029798"/>
              </p:ext>
            </p:extLst>
          </p:nvPr>
        </p:nvGraphicFramePr>
        <p:xfrm>
          <a:off x="9021391" y="3875478"/>
          <a:ext cx="2991205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6776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844062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00367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20.10. 2020</a:t>
                      </a:r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B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+mn-lt"/>
                        </a:rPr>
                        <a:t> 10</a:t>
                      </a:r>
                      <a:r>
                        <a:rPr kumimoji="0" lang="cs-CZ" sz="14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11. 2021</a:t>
                      </a: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B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7denní inciden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F3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6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+mn-lt"/>
                        </a:rPr>
                        <a:t>614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Klouzavý průmě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F3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9 17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+mn-lt"/>
                        </a:rPr>
                        <a:t>9387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8">
            <a:extLst>
              <a:ext uri="{FF2B5EF4-FFF2-40B4-BE49-F238E27FC236}">
                <a16:creationId xmlns:a16="http://schemas.microsoft.com/office/drawing/2014/main" id="{97BDEC9A-F89D-47F9-BAD7-D79366A51F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2141" y="1247531"/>
            <a:ext cx="8801899" cy="4887381"/>
          </a:xfrm>
          <a:prstGeom prst="rect">
            <a:avLst/>
          </a:prstGeom>
        </p:spPr>
      </p:pic>
      <p:sp>
        <p:nvSpPr>
          <p:cNvPr id="3" name="TextovéPole 2"/>
          <p:cNvSpPr txBox="1"/>
          <p:nvPr/>
        </p:nvSpPr>
        <p:spPr>
          <a:xfrm>
            <a:off x="10617794" y="5831028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49943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2141" y="92597"/>
            <a:ext cx="9885238" cy="896492"/>
          </a:xfrm>
        </p:spPr>
        <p:txBody>
          <a:bodyPr/>
          <a:lstStyle/>
          <a:p>
            <a:r>
              <a:rPr lang="cs-CZ" sz="2800" dirty="0" smtClean="0"/>
              <a:t>Trend zátěže nemocnic 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729760" y="1433145"/>
            <a:ext cx="97155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 smtClean="0"/>
              <a:t>Momentálně jsme na stejném počtu hospitalizovaných jako minulý rok koncem října</a:t>
            </a:r>
            <a:r>
              <a:rPr lang="cs-CZ" sz="2000" dirty="0" smtClean="0"/>
              <a:t>, kdy začala situace pozvolna eskalovat, ale záhy se počet hospitalizovaných začal zvyšoval rapidním tempem. Nyní očekáváme stejný průběh podle vysoce rizikového scénáře.</a:t>
            </a:r>
          </a:p>
          <a:p>
            <a:endParaRPr lang="cs-CZ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/>
              <a:t>Vývoj zátěže bohužel postupuje dle nastavených predikcí na nejvyšší úrovni rizika. </a:t>
            </a:r>
            <a:r>
              <a:rPr lang="cs-CZ" sz="2000" b="1" dirty="0" smtClean="0"/>
              <a:t>Zátěž </a:t>
            </a:r>
            <a:r>
              <a:rPr lang="cs-CZ" sz="2000" b="1" dirty="0"/>
              <a:t>nemocnic v dalších dnech silně </a:t>
            </a:r>
            <a:r>
              <a:rPr lang="cs-CZ" sz="2000" b="1" dirty="0" smtClean="0"/>
              <a:t>poroste</a:t>
            </a:r>
            <a:r>
              <a:rPr lang="cs-CZ" sz="2000" dirty="0" smtClean="0"/>
              <a:t>. </a:t>
            </a:r>
            <a:r>
              <a:rPr lang="cs-CZ" sz="2000" dirty="0"/>
              <a:t>Významný růst je patrný u vysoce intenzivní péče (UPV/ECMO), kde se </a:t>
            </a:r>
            <a:r>
              <a:rPr lang="cs-CZ" sz="2000" b="1" dirty="0"/>
              <a:t>počty aktuálně léčených zvyšují denně v desítkách</a:t>
            </a:r>
            <a:r>
              <a:rPr lang="cs-CZ" sz="2000" dirty="0"/>
              <a:t>.  </a:t>
            </a:r>
          </a:p>
          <a:p>
            <a:endParaRPr lang="cs-CZ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/>
              <a:t>Narůstá celková </a:t>
            </a:r>
            <a:r>
              <a:rPr lang="cs-CZ" sz="2000" b="1" dirty="0" err="1"/>
              <a:t>obložnost</a:t>
            </a:r>
            <a:r>
              <a:rPr lang="cs-CZ" sz="2000" b="1" dirty="0"/>
              <a:t> JIP </a:t>
            </a:r>
            <a:r>
              <a:rPr lang="cs-CZ" sz="2000" b="1" dirty="0" smtClean="0"/>
              <a:t>lůžek</a:t>
            </a:r>
            <a:r>
              <a:rPr lang="cs-CZ" sz="2000" dirty="0" smtClean="0"/>
              <a:t>, </a:t>
            </a:r>
            <a:r>
              <a:rPr lang="cs-CZ" sz="2000" dirty="0"/>
              <a:t>podíl nyní aktuálně dostupných lůžek (funkčních) se </a:t>
            </a:r>
            <a:r>
              <a:rPr lang="cs-CZ" sz="2000" b="1" dirty="0"/>
              <a:t>stále drží nad 30%</a:t>
            </a:r>
            <a:r>
              <a:rPr lang="cs-CZ" sz="2000" dirty="0"/>
              <a:t>,</a:t>
            </a:r>
            <a:r>
              <a:rPr lang="cs-CZ" sz="2000" b="1" dirty="0"/>
              <a:t> </a:t>
            </a:r>
            <a:r>
              <a:rPr lang="cs-CZ" sz="2000" dirty="0"/>
              <a:t>neboť </a:t>
            </a:r>
            <a:r>
              <a:rPr lang="cs-CZ" sz="2000" b="1" dirty="0"/>
              <a:t>v některých krajích již dochází k omezení </a:t>
            </a:r>
            <a:r>
              <a:rPr lang="cs-CZ" sz="2000" b="1" dirty="0" smtClean="0"/>
              <a:t>péče</a:t>
            </a:r>
            <a:r>
              <a:rPr lang="cs-CZ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767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8992" y="3094607"/>
            <a:ext cx="13702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0:23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Analýza </a:t>
            </a:r>
            <a:r>
              <a:rPr lang="cs-CZ" dirty="0"/>
              <a:t>aktuálního prevalenčního </a:t>
            </a:r>
            <a:r>
              <a:rPr lang="cs-CZ" dirty="0" smtClean="0"/>
              <a:t>poolu, z kterého se predikuje počet nově hospitalizovaných </a:t>
            </a:r>
            <a:r>
              <a:rPr lang="cs-CZ" dirty="0"/>
              <a:t>s COVID-19 v následujících 10 - 14 </a:t>
            </a:r>
            <a:r>
              <a:rPr lang="cs-CZ" dirty="0" smtClean="0"/>
              <a:t>dnech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419029"/>
              </p:ext>
            </p:extLst>
          </p:nvPr>
        </p:nvGraphicFramePr>
        <p:xfrm>
          <a:off x="3222484" y="1538202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 6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4266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8DBC369A-374C-4D0B-BFC5-D0C8895904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89723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2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8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</a:t>
                      </a:r>
                      <a:r>
                        <a:rPr lang="cs-CZ" sz="1200" b="1" u="none" strike="noStrike" dirty="0" smtClean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583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72792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A6421A9A-E139-4972-9667-EAF6CC5F07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4531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</a:t>
                      </a:r>
                      <a:r>
                        <a:rPr lang="cs-CZ" sz="1200" b="1" u="none" strike="noStrike" dirty="0" smtClean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13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54358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sz="1800" dirty="0" smtClean="0"/>
              <a:t>Hodnocení situace v krajích od KKIP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7" name="Tabulk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798186"/>
              </p:ext>
            </p:extLst>
          </p:nvPr>
        </p:nvGraphicFramePr>
        <p:xfrm>
          <a:off x="404448" y="1112705"/>
          <a:ext cx="10805744" cy="563409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5687">
                  <a:extLst>
                    <a:ext uri="{9D8B030D-6E8A-4147-A177-3AD203B41FA5}">
                      <a16:colId xmlns:a16="http://schemas.microsoft.com/office/drawing/2014/main" val="2834067333"/>
                    </a:ext>
                  </a:extLst>
                </a:gridCol>
                <a:gridCol w="1843957">
                  <a:extLst>
                    <a:ext uri="{9D8B030D-6E8A-4147-A177-3AD203B41FA5}">
                      <a16:colId xmlns:a16="http://schemas.microsoft.com/office/drawing/2014/main" val="3782463506"/>
                    </a:ext>
                  </a:extLst>
                </a:gridCol>
                <a:gridCol w="2096417">
                  <a:extLst>
                    <a:ext uri="{9D8B030D-6E8A-4147-A177-3AD203B41FA5}">
                      <a16:colId xmlns:a16="http://schemas.microsoft.com/office/drawing/2014/main" val="1929144908"/>
                    </a:ext>
                  </a:extLst>
                </a:gridCol>
                <a:gridCol w="2089383">
                  <a:extLst>
                    <a:ext uri="{9D8B030D-6E8A-4147-A177-3AD203B41FA5}">
                      <a16:colId xmlns:a16="http://schemas.microsoft.com/office/drawing/2014/main" val="1110750250"/>
                    </a:ext>
                  </a:extLst>
                </a:gridCol>
                <a:gridCol w="3200300">
                  <a:extLst>
                    <a:ext uri="{9D8B030D-6E8A-4147-A177-3AD203B41FA5}">
                      <a16:colId xmlns:a16="http://schemas.microsoft.com/office/drawing/2014/main" val="2502313200"/>
                    </a:ext>
                  </a:extLst>
                </a:gridCol>
              </a:tblGrid>
              <a:tr h="4356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POPIS VÝVOJ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10645"/>
                  </a:ext>
                </a:extLst>
              </a:tr>
              <a:tr h="152483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tím snaha zachovat co nejvyšší  elektivní provoz. Situace se ale lineárně zhoršuje. Při neočekávaném výkyvu či podcenění rychlosti nástupu počtu pacientů, hlavně v IP, nemusí být situace zvladatelná vlastními silami. Již teď nutno HFNO opět provozovat na standardních/infekčních odděleních. 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62758"/>
                  </a:ext>
                </a:extLst>
              </a:tr>
              <a:tr h="98847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stecký </a:t>
                      </a:r>
                      <a:endParaRPr lang="cs-CZ" sz="13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523083"/>
                  </a:ext>
                </a:extLst>
              </a:tr>
              <a:tr h="98847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5969366"/>
                  </a:ext>
                </a:extLst>
              </a:tr>
              <a:tr h="73728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dlišná situace v různých okresech JMK – nejhorší v BM, BV (+Blansko a Vyškov)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7030228"/>
                  </a:ext>
                </a:extLst>
              </a:tr>
              <a:tr h="95511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řed ev. omezením elektivní péče budeme informova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6033481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-259765" y="659686"/>
            <a:ext cx="475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2.11.2021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8339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0051938"/>
              </p:ext>
            </p:extLst>
          </p:nvPr>
        </p:nvGraphicFramePr>
        <p:xfrm>
          <a:off x="350804" y="902266"/>
          <a:ext cx="11212371" cy="58826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27639">
                  <a:extLst>
                    <a:ext uri="{9D8B030D-6E8A-4147-A177-3AD203B41FA5}">
                      <a16:colId xmlns:a16="http://schemas.microsoft.com/office/drawing/2014/main" val="1610750162"/>
                    </a:ext>
                  </a:extLst>
                </a:gridCol>
                <a:gridCol w="1705709">
                  <a:extLst>
                    <a:ext uri="{9D8B030D-6E8A-4147-A177-3AD203B41FA5}">
                      <a16:colId xmlns:a16="http://schemas.microsoft.com/office/drawing/2014/main" val="1127923130"/>
                    </a:ext>
                  </a:extLst>
                </a:gridCol>
                <a:gridCol w="2540977">
                  <a:extLst>
                    <a:ext uri="{9D8B030D-6E8A-4147-A177-3AD203B41FA5}">
                      <a16:colId xmlns:a16="http://schemas.microsoft.com/office/drawing/2014/main" val="1716916788"/>
                    </a:ext>
                  </a:extLst>
                </a:gridCol>
                <a:gridCol w="2092569">
                  <a:extLst>
                    <a:ext uri="{9D8B030D-6E8A-4147-A177-3AD203B41FA5}">
                      <a16:colId xmlns:a16="http://schemas.microsoft.com/office/drawing/2014/main" val="50096010"/>
                    </a:ext>
                  </a:extLst>
                </a:gridCol>
                <a:gridCol w="3545477">
                  <a:extLst>
                    <a:ext uri="{9D8B030D-6E8A-4147-A177-3AD203B41FA5}">
                      <a16:colId xmlns:a16="http://schemas.microsoft.com/office/drawing/2014/main" val="3305887813"/>
                    </a:ext>
                  </a:extLst>
                </a:gridCol>
              </a:tblGrid>
              <a:tr h="46274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ěhem příštího týdne se posuneme o stupeň k horšímu.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3998825"/>
                  </a:ext>
                </a:extLst>
              </a:tr>
              <a:tr h="52207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mezovaná většinou v rozmezí 20-50% - pro toto chybí kolonka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čekáváme další zhoršová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372390"/>
                  </a:ext>
                </a:extLst>
              </a:tr>
              <a:tr h="67631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omoucký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mezená 20-50%, situace se denně mění, od 12.11.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ca na 50% ve všech nemocnicích a další zhoršení situace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177480"/>
                  </a:ext>
                </a:extLst>
              </a:tr>
              <a:tr h="119838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le risk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ppingu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ude v následujících 2 týdnech nutná další přestavba odd. na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ky a omezení elektivní péč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roti jarní vlně epidemie je zde dalším faktorem vyhoření zdravotníků generující další problémy  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 menších ZZ je jakákoli transformace na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ku spojená s omezením jiné péč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496931"/>
                  </a:ext>
                </a:extLst>
              </a:tr>
              <a:tr h="58139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římořízen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emocnicích kraj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Jih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l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o)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tuace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ná, zatím bez překladů v rámci kraje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151088"/>
                  </a:ext>
                </a:extLst>
              </a:tr>
              <a:tr h="46274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474921"/>
                  </a:ext>
                </a:extLst>
              </a:tr>
              <a:tr h="67631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r>
                        <a:rPr lang="cs-CZ" sz="13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11.21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0975763"/>
                  </a:ext>
                </a:extLst>
              </a:tr>
            </a:tbl>
          </a:graphicData>
        </a:graphic>
      </p:graphicFrame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271109"/>
              </p:ext>
            </p:extLst>
          </p:nvPr>
        </p:nvGraphicFramePr>
        <p:xfrm>
          <a:off x="350805" y="472422"/>
          <a:ext cx="11212371" cy="396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8847">
                  <a:extLst>
                    <a:ext uri="{9D8B030D-6E8A-4147-A177-3AD203B41FA5}">
                      <a16:colId xmlns:a16="http://schemas.microsoft.com/office/drawing/2014/main" val="666802223"/>
                    </a:ext>
                  </a:extLst>
                </a:gridCol>
                <a:gridCol w="1696915">
                  <a:extLst>
                    <a:ext uri="{9D8B030D-6E8A-4147-A177-3AD203B41FA5}">
                      <a16:colId xmlns:a16="http://schemas.microsoft.com/office/drawing/2014/main" val="2137881836"/>
                    </a:ext>
                  </a:extLst>
                </a:gridCol>
                <a:gridCol w="2584939">
                  <a:extLst>
                    <a:ext uri="{9D8B030D-6E8A-4147-A177-3AD203B41FA5}">
                      <a16:colId xmlns:a16="http://schemas.microsoft.com/office/drawing/2014/main" val="3573308869"/>
                    </a:ext>
                  </a:extLst>
                </a:gridCol>
                <a:gridCol w="2083777">
                  <a:extLst>
                    <a:ext uri="{9D8B030D-6E8A-4147-A177-3AD203B41FA5}">
                      <a16:colId xmlns:a16="http://schemas.microsoft.com/office/drawing/2014/main" val="3050542260"/>
                    </a:ext>
                  </a:extLst>
                </a:gridCol>
                <a:gridCol w="3527893">
                  <a:extLst>
                    <a:ext uri="{9D8B030D-6E8A-4147-A177-3AD203B41FA5}">
                      <a16:colId xmlns:a16="http://schemas.microsoft.com/office/drawing/2014/main" val="690364964"/>
                    </a:ext>
                  </a:extLst>
                </a:gridCol>
              </a:tblGrid>
              <a:tr h="3763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POPIS VÝVOJ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788282"/>
                  </a:ext>
                </a:extLst>
              </a:tr>
            </a:tbl>
          </a:graphicData>
        </a:graphic>
      </p:graphicFrame>
      <p:sp>
        <p:nvSpPr>
          <p:cNvPr id="5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4638" y="-8792"/>
            <a:ext cx="7440022" cy="57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1800" dirty="0" smtClean="0"/>
              <a:t>Hodnocení situace v krajích od KKIP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-284365" y="94542"/>
            <a:ext cx="475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2.11.2021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528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akutní lůžka C+ pacienty k </a:t>
            </a:r>
          </a:p>
          <a:p>
            <a:pPr algn="ctr"/>
            <a:r>
              <a:rPr lang="cs-CZ" b="1" dirty="0" smtClean="0"/>
              <a:t>15.11.2021 00:1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64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353211"/>
              </p:ext>
            </p:extLst>
          </p:nvPr>
        </p:nvGraphicFramePr>
        <p:xfrm>
          <a:off x="332818" y="1015999"/>
          <a:ext cx="8792709" cy="5338617"/>
        </p:xfrm>
        <a:graphic>
          <a:graphicData uri="http://schemas.openxmlformats.org/drawingml/2006/table">
            <a:tbl>
              <a:tblPr/>
              <a:tblGrid>
                <a:gridCol w="2342448">
                  <a:extLst>
                    <a:ext uri="{9D8B030D-6E8A-4147-A177-3AD203B41FA5}">
                      <a16:colId xmlns:a16="http://schemas.microsoft.com/office/drawing/2014/main" val="1529912468"/>
                    </a:ext>
                  </a:extLst>
                </a:gridCol>
                <a:gridCol w="1334109">
                  <a:extLst>
                    <a:ext uri="{9D8B030D-6E8A-4147-A177-3AD203B41FA5}">
                      <a16:colId xmlns:a16="http://schemas.microsoft.com/office/drawing/2014/main" val="1945950066"/>
                    </a:ext>
                  </a:extLst>
                </a:gridCol>
                <a:gridCol w="1318596">
                  <a:extLst>
                    <a:ext uri="{9D8B030D-6E8A-4147-A177-3AD203B41FA5}">
                      <a16:colId xmlns:a16="http://schemas.microsoft.com/office/drawing/2014/main" val="3574291428"/>
                    </a:ext>
                  </a:extLst>
                </a:gridCol>
                <a:gridCol w="1318596">
                  <a:extLst>
                    <a:ext uri="{9D8B030D-6E8A-4147-A177-3AD203B41FA5}">
                      <a16:colId xmlns:a16="http://schemas.microsoft.com/office/drawing/2014/main" val="2156450883"/>
                    </a:ext>
                  </a:extLst>
                </a:gridCol>
                <a:gridCol w="1380647">
                  <a:extLst>
                    <a:ext uri="{9D8B030D-6E8A-4147-A177-3AD203B41FA5}">
                      <a16:colId xmlns:a16="http://schemas.microsoft.com/office/drawing/2014/main" val="1682749593"/>
                    </a:ext>
                  </a:extLst>
                </a:gridCol>
                <a:gridCol w="1098313">
                  <a:extLst>
                    <a:ext uri="{9D8B030D-6E8A-4147-A177-3AD203B41FA5}">
                      <a16:colId xmlns:a16="http://schemas.microsoft.com/office/drawing/2014/main" val="595784609"/>
                    </a:ext>
                  </a:extLst>
                </a:gridCol>
              </a:tblGrid>
              <a:tr h="22075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437021"/>
                  </a:ext>
                </a:extLst>
              </a:tr>
              <a:tr h="220750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5.11. 2021, 11:30 h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1978020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14609"/>
                  </a:ext>
                </a:extLst>
              </a:tr>
              <a:tr h="19552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5032260"/>
                  </a:ext>
                </a:extLst>
              </a:tr>
              <a:tr h="76316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79870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366045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7015828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677011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280910"/>
                  </a:ext>
                </a:extLst>
              </a:tr>
              <a:tr h="197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813125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5307062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6138713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935876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875888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277541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6738424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24041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257956"/>
                  </a:ext>
                </a:extLst>
              </a:tr>
              <a:tr h="2128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30599"/>
                  </a:ext>
                </a:extLst>
              </a:tr>
              <a:tr h="2049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5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0928546"/>
                  </a:ext>
                </a:extLst>
              </a:tr>
              <a:tr h="26805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6171333"/>
                  </a:ext>
                </a:extLst>
              </a:tr>
              <a:tr h="189504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644757"/>
                  </a:ext>
                </a:extLst>
              </a:tr>
              <a:tr h="21286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003309"/>
                  </a:ext>
                </a:extLst>
              </a:tr>
              <a:tr h="18950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198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779636"/>
              </p:ext>
            </p:extLst>
          </p:nvPr>
        </p:nvGraphicFramePr>
        <p:xfrm>
          <a:off x="332819" y="1043712"/>
          <a:ext cx="8632615" cy="5324768"/>
        </p:xfrm>
        <a:graphic>
          <a:graphicData uri="http://schemas.openxmlformats.org/drawingml/2006/table">
            <a:tbl>
              <a:tblPr/>
              <a:tblGrid>
                <a:gridCol w="1987686">
                  <a:extLst>
                    <a:ext uri="{9D8B030D-6E8A-4147-A177-3AD203B41FA5}">
                      <a16:colId xmlns:a16="http://schemas.microsoft.com/office/drawing/2014/main" val="1012768603"/>
                    </a:ext>
                  </a:extLst>
                </a:gridCol>
                <a:gridCol w="1132060">
                  <a:extLst>
                    <a:ext uri="{9D8B030D-6E8A-4147-A177-3AD203B41FA5}">
                      <a16:colId xmlns:a16="http://schemas.microsoft.com/office/drawing/2014/main" val="2796116234"/>
                    </a:ext>
                  </a:extLst>
                </a:gridCol>
                <a:gridCol w="1118896">
                  <a:extLst>
                    <a:ext uri="{9D8B030D-6E8A-4147-A177-3AD203B41FA5}">
                      <a16:colId xmlns:a16="http://schemas.microsoft.com/office/drawing/2014/main" val="493389259"/>
                    </a:ext>
                  </a:extLst>
                </a:gridCol>
                <a:gridCol w="1118896">
                  <a:extLst>
                    <a:ext uri="{9D8B030D-6E8A-4147-A177-3AD203B41FA5}">
                      <a16:colId xmlns:a16="http://schemas.microsoft.com/office/drawing/2014/main" val="3993559920"/>
                    </a:ext>
                  </a:extLst>
                </a:gridCol>
                <a:gridCol w="1171551">
                  <a:extLst>
                    <a:ext uri="{9D8B030D-6E8A-4147-A177-3AD203B41FA5}">
                      <a16:colId xmlns:a16="http://schemas.microsoft.com/office/drawing/2014/main" val="3009210468"/>
                    </a:ext>
                  </a:extLst>
                </a:gridCol>
                <a:gridCol w="931975">
                  <a:extLst>
                    <a:ext uri="{9D8B030D-6E8A-4147-A177-3AD203B41FA5}">
                      <a16:colId xmlns:a16="http://schemas.microsoft.com/office/drawing/2014/main" val="4047495685"/>
                    </a:ext>
                  </a:extLst>
                </a:gridCol>
                <a:gridCol w="1171551">
                  <a:extLst>
                    <a:ext uri="{9D8B030D-6E8A-4147-A177-3AD203B41FA5}">
                      <a16:colId xmlns:a16="http://schemas.microsoft.com/office/drawing/2014/main" val="2787621138"/>
                    </a:ext>
                  </a:extLst>
                </a:gridCol>
              </a:tblGrid>
              <a:tr h="209522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0062333"/>
                  </a:ext>
                </a:extLst>
              </a:tr>
              <a:tr h="216560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5.11. 2021, 11:3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1742124"/>
                  </a:ext>
                </a:extLst>
              </a:tr>
              <a:tr h="191810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532507"/>
                  </a:ext>
                </a:extLst>
              </a:tr>
              <a:tr h="19181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7245179"/>
                  </a:ext>
                </a:extLst>
              </a:tr>
              <a:tr h="74867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2493630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1962024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716790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569755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434253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8727659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377149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6077309"/>
                  </a:ext>
                </a:extLst>
              </a:tr>
              <a:tr h="19335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2226299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6967589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9232655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7262915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9206560"/>
                  </a:ext>
                </a:extLst>
              </a:tr>
              <a:tr h="18562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194690"/>
                  </a:ext>
                </a:extLst>
              </a:tr>
              <a:tr h="1918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496887"/>
                  </a:ext>
                </a:extLst>
              </a:tr>
              <a:tr h="2088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2091699"/>
                  </a:ext>
                </a:extLst>
              </a:tr>
              <a:tr h="185622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5102638"/>
                  </a:ext>
                </a:extLst>
              </a:tr>
              <a:tr h="179435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8654748"/>
                  </a:ext>
                </a:extLst>
              </a:tr>
              <a:tr h="35268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5568141"/>
                  </a:ext>
                </a:extLst>
              </a:tr>
              <a:tr h="185622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02975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486005" y="2147602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5.11.2021 00:1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3 249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645161" y="4001514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4038072"/>
              </p:ext>
            </p:extLst>
          </p:nvPr>
        </p:nvGraphicFramePr>
        <p:xfrm>
          <a:off x="332818" y="1016006"/>
          <a:ext cx="8720147" cy="5338611"/>
        </p:xfrm>
        <a:graphic>
          <a:graphicData uri="http://schemas.openxmlformats.org/drawingml/2006/table">
            <a:tbl>
              <a:tblPr/>
              <a:tblGrid>
                <a:gridCol w="2006006">
                  <a:extLst>
                    <a:ext uri="{9D8B030D-6E8A-4147-A177-3AD203B41FA5}">
                      <a16:colId xmlns:a16="http://schemas.microsoft.com/office/drawing/2014/main" val="321493490"/>
                    </a:ext>
                  </a:extLst>
                </a:gridCol>
                <a:gridCol w="1142493">
                  <a:extLst>
                    <a:ext uri="{9D8B030D-6E8A-4147-A177-3AD203B41FA5}">
                      <a16:colId xmlns:a16="http://schemas.microsoft.com/office/drawing/2014/main" val="3283989709"/>
                    </a:ext>
                  </a:extLst>
                </a:gridCol>
                <a:gridCol w="1129209">
                  <a:extLst>
                    <a:ext uri="{9D8B030D-6E8A-4147-A177-3AD203B41FA5}">
                      <a16:colId xmlns:a16="http://schemas.microsoft.com/office/drawing/2014/main" val="3439987393"/>
                    </a:ext>
                  </a:extLst>
                </a:gridCol>
                <a:gridCol w="1129209">
                  <a:extLst>
                    <a:ext uri="{9D8B030D-6E8A-4147-A177-3AD203B41FA5}">
                      <a16:colId xmlns:a16="http://schemas.microsoft.com/office/drawing/2014/main" val="932507969"/>
                    </a:ext>
                  </a:extLst>
                </a:gridCol>
                <a:gridCol w="1182347">
                  <a:extLst>
                    <a:ext uri="{9D8B030D-6E8A-4147-A177-3AD203B41FA5}">
                      <a16:colId xmlns:a16="http://schemas.microsoft.com/office/drawing/2014/main" val="2073760149"/>
                    </a:ext>
                  </a:extLst>
                </a:gridCol>
                <a:gridCol w="1182347">
                  <a:extLst>
                    <a:ext uri="{9D8B030D-6E8A-4147-A177-3AD203B41FA5}">
                      <a16:colId xmlns:a16="http://schemas.microsoft.com/office/drawing/2014/main" val="1539696640"/>
                    </a:ext>
                  </a:extLst>
                </a:gridCol>
                <a:gridCol w="948536">
                  <a:extLst>
                    <a:ext uri="{9D8B030D-6E8A-4147-A177-3AD203B41FA5}">
                      <a16:colId xmlns:a16="http://schemas.microsoft.com/office/drawing/2014/main" val="1492642287"/>
                    </a:ext>
                  </a:extLst>
                </a:gridCol>
              </a:tblGrid>
              <a:tr h="223976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a ne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2794868"/>
                  </a:ext>
                </a:extLst>
              </a:tr>
              <a:tr h="223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5.11. 2021, 11:30 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6502562"/>
                  </a:ext>
                </a:extLst>
              </a:tr>
              <a:tr h="19838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1010617"/>
                  </a:ext>
                </a:extLst>
              </a:tr>
              <a:tr h="22397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na Infekčním oddělení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804934"/>
                  </a:ext>
                </a:extLst>
              </a:tr>
              <a:tr h="58233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049771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8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8018326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1687866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0965112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377018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586870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395705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519502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860405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723737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117983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7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871391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1349023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850500"/>
                  </a:ext>
                </a:extLst>
              </a:tr>
              <a:tr h="1983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1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115299"/>
                  </a:ext>
                </a:extLst>
              </a:tr>
              <a:tr h="21597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2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236171"/>
                  </a:ext>
                </a:extLst>
              </a:tr>
              <a:tr h="193225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8358833"/>
                  </a:ext>
                </a:extLst>
              </a:tr>
              <a:tr h="193225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9637730"/>
                  </a:ext>
                </a:extLst>
              </a:tr>
              <a:tr h="38000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4283390"/>
                  </a:ext>
                </a:extLst>
              </a:tr>
              <a:tr h="19322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01149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řeklady pacientů mezi ZZ krajů za posledních 24 h.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 smtClean="0"/>
              <a:t>Od 12.11.21 do 14.11.21, nebyl žádán po NDLP žádný </a:t>
            </a:r>
            <a:r>
              <a:rPr lang="cs-CZ" dirty="0" smtClean="0"/>
              <a:t>mezikrajový překlad </a:t>
            </a:r>
            <a:r>
              <a:rPr lang="cs-CZ" dirty="0" smtClean="0"/>
              <a:t>pacientů.</a:t>
            </a:r>
            <a:endParaRPr lang="cs-CZ" dirty="0" smtClean="0"/>
          </a:p>
          <a:p>
            <a:r>
              <a:rPr lang="cs-CZ" b="1" dirty="0" smtClean="0">
                <a:solidFill>
                  <a:srgbClr val="FF0000"/>
                </a:solidFill>
              </a:rPr>
              <a:t>K 15.11.21, neaktualizováno přes 50 ZZ</a:t>
            </a:r>
            <a:r>
              <a:rPr lang="cs-CZ" b="1" dirty="0" smtClean="0">
                <a:solidFill>
                  <a:srgbClr val="FF0000"/>
                </a:solidFill>
              </a:rPr>
              <a:t>. </a:t>
            </a:r>
            <a:r>
              <a:rPr lang="cs-CZ" b="1" dirty="0" smtClean="0">
                <a:solidFill>
                  <a:srgbClr val="FF0000"/>
                </a:solidFill>
              </a:rPr>
              <a:t>Informace v tabulce nejsou přesné.</a:t>
            </a:r>
            <a:endParaRPr lang="cs-CZ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05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8945783" y="3190046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15.11.2021 </a:t>
            </a:r>
            <a:r>
              <a:rPr lang="cs-CZ" dirty="0" smtClean="0">
                <a:solidFill>
                  <a:srgbClr val="FF0000"/>
                </a:solidFill>
              </a:rPr>
              <a:t>11:55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992319"/>
              </p:ext>
            </p:extLst>
          </p:nvPr>
        </p:nvGraphicFramePr>
        <p:xfrm>
          <a:off x="1556238" y="1843894"/>
          <a:ext cx="6084277" cy="3084186"/>
        </p:xfrm>
        <a:graphic>
          <a:graphicData uri="http://schemas.openxmlformats.org/drawingml/2006/table">
            <a:tbl>
              <a:tblPr/>
              <a:tblGrid>
                <a:gridCol w="3675184">
                  <a:extLst>
                    <a:ext uri="{9D8B030D-6E8A-4147-A177-3AD203B41FA5}">
                      <a16:colId xmlns:a16="http://schemas.microsoft.com/office/drawing/2014/main" val="2179594674"/>
                    </a:ext>
                  </a:extLst>
                </a:gridCol>
                <a:gridCol w="691612">
                  <a:extLst>
                    <a:ext uri="{9D8B030D-6E8A-4147-A177-3AD203B41FA5}">
                      <a16:colId xmlns:a16="http://schemas.microsoft.com/office/drawing/2014/main" val="602043726"/>
                    </a:ext>
                  </a:extLst>
                </a:gridCol>
                <a:gridCol w="1717481">
                  <a:extLst>
                    <a:ext uri="{9D8B030D-6E8A-4147-A177-3AD203B41FA5}">
                      <a16:colId xmlns:a16="http://schemas.microsoft.com/office/drawing/2014/main" val="1103589038"/>
                    </a:ext>
                  </a:extLst>
                </a:gridCol>
              </a:tblGrid>
              <a:tr h="3888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6378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Třinec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1.2021 13:36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576905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ršovická zdravotní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.11.2021 21:1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543483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arykova nemocnice Rakovník s.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0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235079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8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600370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 poliklinikou Karviná-Ráj, p. 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4:01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663792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ymburk s.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11.2021 11:54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836549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1556238" y="5144655"/>
            <a:ext cx="60842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b="1" dirty="0" smtClean="0">
                <a:solidFill>
                  <a:srgbClr val="FF0000"/>
                </a:solidFill>
              </a:rPr>
              <a:t>K 15.11.21 neaktualizováno přes 50 ZZ v ČR.</a:t>
            </a:r>
            <a:endParaRPr lang="cs-CZ" sz="3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4743061" y="5956297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4.11.2021 07:44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86364" y="6094797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0681449"/>
              </p:ext>
            </p:extLst>
          </p:nvPr>
        </p:nvGraphicFramePr>
        <p:xfrm>
          <a:off x="7849405" y="3029771"/>
          <a:ext cx="3804408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7595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66813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48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,9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,1</a:t>
                      </a:r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91792" y="4095707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4.11.2021 07:35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10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212817"/>
              </p:ext>
            </p:extLst>
          </p:nvPr>
        </p:nvGraphicFramePr>
        <p:xfrm>
          <a:off x="295564" y="1064647"/>
          <a:ext cx="8142042" cy="5650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26415" y="69531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024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323852" y="3572364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22139" y="6129966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125990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323852" y="3572364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22140" y="6165136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14034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18944</TotalTime>
  <Words>2199</Words>
  <Application>Microsoft Office PowerPoint</Application>
  <PresentationFormat>Širokoúhlá obrazovka</PresentationFormat>
  <Paragraphs>653</Paragraphs>
  <Slides>16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6</vt:i4>
      </vt:variant>
    </vt:vector>
  </HeadingPairs>
  <TitlesOfParts>
    <vt:vector size="23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Překlady pacientů mezi ZZ krajů za posledních 24 h.</vt:lpstr>
      <vt:lpstr>Seznam nemocnic neaktualizovaných déle než 48 h 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  <vt:lpstr>Přehled vývoje počtu nových případů od dubna 2020 </vt:lpstr>
      <vt:lpstr>Trend zátěže nemocnic </vt:lpstr>
      <vt:lpstr>Risk mapping – zdroj UZIS </vt:lpstr>
      <vt:lpstr>Predikce celkového počtu hospitalizací – aktuální počet léčených </vt:lpstr>
      <vt:lpstr>Predikce počtu pacientů na JIP – aktuální počet případů </vt:lpstr>
      <vt:lpstr>Hodnocení situace v krajích od KKIP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449</cp:revision>
  <cp:lastPrinted>2020-10-20T04:21:56Z</cp:lastPrinted>
  <dcterms:created xsi:type="dcterms:W3CDTF">2020-07-15T10:33:32Z</dcterms:created>
  <dcterms:modified xsi:type="dcterms:W3CDTF">2021-11-15T13:27:20Z</dcterms:modified>
</cp:coreProperties>
</file>